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7" r:id="rId3"/>
    <p:sldId id="259" r:id="rId4"/>
    <p:sldId id="265" r:id="rId5"/>
    <p:sldId id="280" r:id="rId6"/>
    <p:sldId id="260" r:id="rId7"/>
    <p:sldId id="261" r:id="rId8"/>
    <p:sldId id="262" r:id="rId9"/>
    <p:sldId id="263" r:id="rId10"/>
    <p:sldId id="282" r:id="rId11"/>
    <p:sldId id="283" r:id="rId12"/>
    <p:sldId id="264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7" r:id="rId24"/>
    <p:sldId id="276" r:id="rId25"/>
    <p:sldId id="284" r:id="rId26"/>
    <p:sldId id="258" r:id="rId2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42" d="100"/>
          <a:sy n="142" d="100"/>
        </p:scale>
        <p:origin x="150" y="4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Πανοραμική 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Τίτλος και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Εισαγωγικά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Κάρτα ονόματ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στήλ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Στήλη 3 εικόνω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l-GR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AAD347D-5ACD-4C99-B74B-A9C85AD731AF}" type="datetimeFigureOut">
              <a:rPr lang="en-US" dirty="0"/>
              <a:t>9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02111984F565}" type="slidenum">
              <a:rPr lang="en-US" dirty="0"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64" r:id="rId12"/>
    <p:sldLayoutId id="2147483662" r:id="rId13"/>
    <p:sldLayoutId id="2147483669" r:id="rId14"/>
    <p:sldLayoutId id="2147483670" r:id="rId15"/>
    <p:sldLayoutId id="2147483658" r:id="rId16"/>
    <p:sldLayoutId id="2147483659" r:id="rId17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s://www.mentimeter.com/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0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hyperlink" Target="https://www.mentimeter.com/" TargetMode="Externa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1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hyperlink" Target="https://www.mentimeter.com/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entimeter.com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hyperlink" Target="https://www.mentimeter.com/" TargetMode="Externa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l-GR" dirty="0"/>
              <a:t>Τίτλος σεμιναρίου</a:t>
            </a:r>
            <a:br>
              <a:rPr lang="el-GR" dirty="0"/>
            </a:br>
            <a:r>
              <a:rPr lang="el-GR" sz="2800" dirty="0"/>
              <a:t>όνομα διδασκόντων / ιδιότητα προαιρετικά </a:t>
            </a:r>
            <a:endParaRPr lang="el-GR" dirty="0"/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154955" y="5071693"/>
            <a:ext cx="8825658" cy="861420"/>
          </a:xfrm>
        </p:spPr>
        <p:txBody>
          <a:bodyPr>
            <a:normAutofit/>
          </a:bodyPr>
          <a:lstStyle/>
          <a:p>
            <a:r>
              <a:rPr lang="el-GR" sz="1800" dirty="0" err="1"/>
              <a:t>Ελληνικο</a:t>
            </a:r>
            <a:r>
              <a:rPr lang="el-GR" sz="1800" dirty="0"/>
              <a:t> </a:t>
            </a:r>
            <a:r>
              <a:rPr lang="el-GR" sz="1800" dirty="0" err="1"/>
              <a:t>μεσογειακο</a:t>
            </a:r>
            <a:r>
              <a:rPr lang="el-GR" sz="1800" dirty="0"/>
              <a:t> </a:t>
            </a:r>
            <a:r>
              <a:rPr lang="el-GR" sz="1800" dirty="0" err="1"/>
              <a:t>πανεπιστημιο</a:t>
            </a:r>
            <a:endParaRPr lang="el-GR" sz="1800" dirty="0"/>
          </a:p>
          <a:p>
            <a:r>
              <a:rPr lang="el-GR" sz="1800" dirty="0" err="1"/>
              <a:t>Κεντρο</a:t>
            </a:r>
            <a:r>
              <a:rPr lang="el-GR" sz="1800" dirty="0"/>
              <a:t> </a:t>
            </a:r>
            <a:r>
              <a:rPr lang="el-GR" sz="1800" dirty="0" err="1"/>
              <a:t>υποστηριξησ</a:t>
            </a:r>
            <a:r>
              <a:rPr lang="el-GR" sz="1800" dirty="0"/>
              <a:t> </a:t>
            </a:r>
            <a:r>
              <a:rPr lang="el-GR" sz="1800" dirty="0" err="1"/>
              <a:t>διδασκαλιασ</a:t>
            </a:r>
            <a:r>
              <a:rPr lang="el-GR" sz="1800" dirty="0"/>
              <a:t> και </a:t>
            </a:r>
            <a:r>
              <a:rPr lang="el-GR" sz="1800" dirty="0" err="1"/>
              <a:t>μαθησησ</a:t>
            </a:r>
            <a:endParaRPr lang="el-GR" sz="1800" dirty="0"/>
          </a:p>
        </p:txBody>
      </p:sp>
      <p:sp>
        <p:nvSpPr>
          <p:cNvPr id="4" name="Ορθογώνιο 3"/>
          <p:cNvSpPr/>
          <p:nvPr/>
        </p:nvSpPr>
        <p:spPr>
          <a:xfrm>
            <a:off x="1154955" y="5849748"/>
            <a:ext cx="2792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s://kedima.hmu.gr/</a:t>
            </a:r>
            <a:endParaRPr lang="el-GR" dirty="0"/>
          </a:p>
        </p:txBody>
      </p:sp>
      <p:pic>
        <p:nvPicPr>
          <p:cNvPr id="102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5179" y="5472071"/>
            <a:ext cx="3246249" cy="112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8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Παράθυρο παρουσιαστή σε δοκιμή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id="{566B8B3E-8C96-7506-DF64-56483BD69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0897" y="1753644"/>
            <a:ext cx="8215254" cy="456643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098CA6A-173F-8F0B-136C-28C7E78653C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8" name="Ορθογώνιο 7">
            <a:extLst>
              <a:ext uri="{FF2B5EF4-FFF2-40B4-BE49-F238E27FC236}">
                <a16:creationId xmlns:a16="http://schemas.microsoft.com/office/drawing/2014/main" id="{2A96458B-E58E-4259-56FA-53725DF10D9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2070789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Παράθυρο συμμετέχοντα σε δοκιμή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BB5124D8-E5DF-C8CA-9EA3-5D431C16D2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720" y="1687606"/>
            <a:ext cx="8590560" cy="438374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607EC5D-B062-747F-510E-E98FE6FE047D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A6DCB658-C8F3-D7C7-A440-7BB193650F48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6319192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016974" y="333586"/>
            <a:ext cx="8363100" cy="793376"/>
          </a:xfrm>
        </p:spPr>
        <p:txBody>
          <a:bodyPr/>
          <a:lstStyle/>
          <a:p>
            <a:r>
              <a:rPr lang="el-GR" dirty="0"/>
              <a:t>Αποτέλεσμα μίας καταγραφή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Εικόνα 8">
            <a:extLst>
              <a:ext uri="{FF2B5EF4-FFF2-40B4-BE49-F238E27FC236}">
                <a16:creationId xmlns:a16="http://schemas.microsoft.com/office/drawing/2014/main" id="{AFC6D022-623D-D4C8-A5B1-08D6B280ED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2329" y="1588564"/>
            <a:ext cx="8427341" cy="448985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5E04323-2B29-141B-6144-C88A58FB0F01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id="{C9160246-444D-529D-8A1E-5586A947CFB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5139101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971600" y="269118"/>
            <a:ext cx="8248800" cy="793376"/>
          </a:xfrm>
        </p:spPr>
        <p:txBody>
          <a:bodyPr/>
          <a:lstStyle/>
          <a:p>
            <a:pPr algn="ctr"/>
            <a:r>
              <a:rPr lang="el-GR" dirty="0"/>
              <a:t>Αποτέλεσμα περισσότερων απαν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42EEA6D2-A40D-4BB0-1090-5BDE8B4046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6740" y="1636409"/>
            <a:ext cx="8546259" cy="44572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434DA27-BD4E-B297-E1E3-95B0F6AC8629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9D8CDA15-C7CB-1619-D82F-567DA53732C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15589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189627"/>
            <a:ext cx="7441976" cy="793376"/>
          </a:xfrm>
        </p:spPr>
        <p:txBody>
          <a:bodyPr/>
          <a:lstStyle/>
          <a:p>
            <a:pPr algn="ctr"/>
            <a:r>
              <a:rPr lang="el-GR" dirty="0"/>
              <a:t>Χρήση ερωτήσεων πολλαπλών επιλογ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16DE1769-87E2-CA87-B60B-AD82CAE2F8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1692" y="1591584"/>
            <a:ext cx="6096000" cy="44326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213DD2E-4780-3037-84A3-4D110302A20A}"/>
              </a:ext>
            </a:extLst>
          </p:cNvPr>
          <p:cNvSpPr txBox="1"/>
          <p:nvPr/>
        </p:nvSpPr>
        <p:spPr>
          <a:xfrm>
            <a:off x="875739" y="2231776"/>
            <a:ext cx="235827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dirty="0"/>
              <a:t>Κάντε μία ερώτηση στους συμμετέχοντες την οποία μπορούν να απαντήσουν  με προκαθορισμένες επιλογές. Οι απαντήσεις τους εμφανίζονται </a:t>
            </a:r>
            <a:r>
              <a:rPr lang="en-US" dirty="0"/>
              <a:t>live </a:t>
            </a:r>
            <a:r>
              <a:rPr lang="el-GR" dirty="0"/>
              <a:t>εκείνη τη στιγμή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3C0FDA7-444E-BC90-D3EA-0D2A903C3D77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id="{76D54F07-367A-83F3-072A-5199E204667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114693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435959" y="163710"/>
            <a:ext cx="8800129" cy="793376"/>
          </a:xfrm>
        </p:spPr>
        <p:txBody>
          <a:bodyPr/>
          <a:lstStyle/>
          <a:p>
            <a:pPr algn="ctr"/>
            <a:r>
              <a:rPr lang="el-GR" dirty="0"/>
              <a:t>Προσθήκη φωτογραφιών ή </a:t>
            </a:r>
            <a:r>
              <a:rPr lang="en-US" dirty="0"/>
              <a:t>Gifs </a:t>
            </a:r>
            <a:r>
              <a:rPr lang="el-GR" dirty="0"/>
              <a:t>στη θέση των απαντήσεω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05E7A3BF-54C7-8B81-EAAE-16EB6C3266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9506" y="1605031"/>
            <a:ext cx="8574666" cy="4576133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659BB4-933E-EB39-8C1C-E11C6897F252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4599170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DD70D80-CE2F-727E-E324-4A74C00EDD59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6926026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382EC3F-AEEA-6936-0E4F-C529058EE23A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6200000">
            <a:off x="5792854" y="2058880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D9208D-2799-58A2-6E7D-1CC104F55B9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7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id="{18416CD8-64B0-9501-22C8-899376AE0FB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146094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ρωτήσεις πολλαπλών επιλογών με χρήση </a:t>
            </a:r>
            <a:r>
              <a:rPr lang="en-US" dirty="0"/>
              <a:t>Gifs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43C7B48E-4186-A460-906B-258A397A4D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1433" y="1591585"/>
            <a:ext cx="8546259" cy="4549239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D4CC23C-F773-CEC0-131D-3EE1ECD89D05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4423669" y="374723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BA86013-D1A1-6282-5A7A-35BD3088035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5379099" y="3728956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D65779B-DCEF-9F34-EE31-24BC7B8A7C7C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 rot="16200000">
            <a:off x="6334529" y="3747235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B48A88B-C65C-DA82-B982-A88F9CAC5DE4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7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id="{BE0CDC4C-FFC3-FDF2-1FB8-015DC17E3536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810743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pPr algn="ctr"/>
            <a:r>
              <a:rPr lang="el-GR" dirty="0"/>
              <a:t>Χρήση διαφανειών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198524" y="644806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FB754C9C-4DC1-92CF-1831-B9379A2F22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2" y="1591585"/>
            <a:ext cx="8582121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FF2D78-611F-EF61-7293-8DFCA3376D2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7881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Προσθήκη εικόνας στις διαφάνειε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0CE6F0CF-F95B-B06B-5D03-7EA9314AE6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591584"/>
            <a:ext cx="8456614" cy="4504416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387D3E-7675-CCB3-A01D-3FC04E01B0A0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333050" y="370654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2D599D-DEB6-062F-FE9A-65CFC3FE9DCF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5D07D03C-B313-1009-F618-8C0AFD60739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3896198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163710"/>
            <a:ext cx="7624165" cy="793376"/>
          </a:xfrm>
        </p:spPr>
        <p:txBody>
          <a:bodyPr/>
          <a:lstStyle/>
          <a:p>
            <a:pPr algn="ctr"/>
            <a:r>
              <a:rPr lang="el-GR" dirty="0"/>
              <a:t>Δυνατότητα  γρήγορης αλλαγής τύπου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67E00A7C-F205-EED1-8E2C-79E6E0C914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4331" y="1555893"/>
            <a:ext cx="8546258" cy="4478932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925022-575A-178E-2DF3-CBE35609ADE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8945291" y="2085774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A4ABA2-BBE1-F865-EE62-627552EDF07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C57A50D1-DD4E-F14E-4522-CB8E79540B7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553067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339423" y="212937"/>
            <a:ext cx="7718201" cy="793376"/>
          </a:xfrm>
        </p:spPr>
        <p:txBody>
          <a:bodyPr/>
          <a:lstStyle/>
          <a:p>
            <a:r>
              <a:rPr lang="el-GR" dirty="0"/>
              <a:t>Κεντρική σελίδα </a:t>
            </a:r>
            <a:r>
              <a:rPr lang="en-US" dirty="0" err="1"/>
              <a:t>Mentimeter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Ορθογώνιο 4"/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  <p:pic>
        <p:nvPicPr>
          <p:cNvPr id="7" name="Εικόνα 6">
            <a:extLst>
              <a:ext uri="{FF2B5EF4-FFF2-40B4-BE49-F238E27FC236}">
                <a16:creationId xmlns:a16="http://schemas.microsoft.com/office/drawing/2014/main" id="{9B6088DA-4B0F-A2C1-0502-A8713EDA6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436" y="1582620"/>
            <a:ext cx="8546260" cy="45062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B18E85C-AFC7-B1DC-995B-2343E5FBDBC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77832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020336" y="163710"/>
            <a:ext cx="8356376" cy="793376"/>
          </a:xfrm>
        </p:spPr>
        <p:txBody>
          <a:bodyPr/>
          <a:lstStyle/>
          <a:p>
            <a:pPr algn="ctr"/>
            <a:r>
              <a:rPr lang="el-GR" dirty="0"/>
              <a:t>Δυνατότητα αλλαγής τρόπου παρουσίασης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2F349B1E-5C28-87FE-92E7-BFD6C1701B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600934"/>
            <a:ext cx="8546258" cy="444127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6209371-C8D7-88FF-EF7D-4D66F4A34E7F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082539" y="2007732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79F5DB-9F91-D336-4E68-FEE59C27E607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1DA2038F-094A-82C9-ED1D-CB120BBB479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6740903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197758" y="141542"/>
            <a:ext cx="9048900" cy="793376"/>
          </a:xfrm>
        </p:spPr>
        <p:txBody>
          <a:bodyPr/>
          <a:lstStyle/>
          <a:p>
            <a:pPr algn="ctr"/>
            <a:r>
              <a:rPr lang="el-GR" dirty="0"/>
              <a:t>Δυνατότητα προσθήκης </a:t>
            </a:r>
            <a:r>
              <a:rPr lang="el-GR" dirty="0" err="1"/>
              <a:t>διαδραστικότητας</a:t>
            </a:r>
            <a:r>
              <a:rPr lang="el-GR" dirty="0"/>
              <a:t> στη διαφάνεια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B97E8C12-A4EE-DC2C-EFB6-B04B14607B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1433" y="1591585"/>
            <a:ext cx="8555225" cy="4471227"/>
          </a:xfrm>
          <a:prstGeom prst="rect">
            <a:avLst/>
          </a:prstGeom>
        </p:spPr>
      </p:pic>
      <p:sp>
        <p:nvSpPr>
          <p:cNvPr id="8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8C7F4-5868-AC5D-8F91-16084CC05546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10246658" y="2606127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34E98C-0DFF-6321-709B-05C0D343A48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 rot="16200000">
            <a:off x="9082539" y="2027903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F7C1B3-2A03-FB3A-6701-286C9CF9DC03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6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id="{D2B345B3-669A-7EF5-74A2-0DC4DBF6568A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5879104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814807" y="284631"/>
            <a:ext cx="8295864" cy="793376"/>
          </a:xfrm>
        </p:spPr>
        <p:txBody>
          <a:bodyPr/>
          <a:lstStyle/>
          <a:p>
            <a:r>
              <a:rPr lang="el-GR" dirty="0"/>
              <a:t>Δυνατότητα προσθήκης βίντεο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3405D491-924D-8E16-23C9-B111ADB924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1671" y="1591584"/>
            <a:ext cx="8502137" cy="458509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869DE0B-92DA-6BE7-FA41-C217AB755B0E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56CB6FEA-25AB-66C1-F305-6CAD0278EC8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6358375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282553" y="306693"/>
            <a:ext cx="7831941" cy="793376"/>
          </a:xfrm>
        </p:spPr>
        <p:txBody>
          <a:bodyPr/>
          <a:lstStyle/>
          <a:p>
            <a:r>
              <a:rPr lang="el-GR" dirty="0"/>
              <a:t>Χρήση ερώτησης κατάταξ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A1A61F46-BE5F-2858-071D-9D2DC4572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3" y="1591585"/>
            <a:ext cx="8546259" cy="4495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2489FC2-66AA-0106-7719-1A2891D8D180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52AF51A3-E2B0-8E1E-9111-CCCF6174D451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2777016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600306" cy="793376"/>
          </a:xfrm>
        </p:spPr>
        <p:txBody>
          <a:bodyPr/>
          <a:lstStyle/>
          <a:p>
            <a:pPr algn="ctr"/>
            <a:r>
              <a:rPr lang="el-GR" dirty="0"/>
              <a:t>Επιπλέον είδη διαφανειών περιεχομένου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EDBE8EB6-FEE9-38B8-6FDF-C101C849E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471" y="1636409"/>
            <a:ext cx="8546259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98D1E3F-BDBE-B65A-19F6-F04BCFFABCE9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D315F84A-0466-FE20-0F12-03FA8F503A5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819913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398371" y="2572522"/>
            <a:ext cx="7600306" cy="793376"/>
          </a:xfrm>
        </p:spPr>
        <p:txBody>
          <a:bodyPr/>
          <a:lstStyle/>
          <a:p>
            <a:pPr algn="ctr"/>
            <a:r>
              <a:rPr lang="el-GR" dirty="0"/>
              <a:t>Σας ευχαριστώ πολύ.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Ορθογώνιο 2">
            <a:extLst>
              <a:ext uri="{FF2B5EF4-FFF2-40B4-BE49-F238E27FC236}">
                <a16:creationId xmlns:a16="http://schemas.microsoft.com/office/drawing/2014/main" id="{B3EA950F-9085-3E5E-1A96-5EE1F4A462D8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37836539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Εικόνα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6874" y="4882391"/>
            <a:ext cx="3629025" cy="1257300"/>
          </a:xfrm>
          <a:prstGeom prst="rect">
            <a:avLst/>
          </a:prstGeom>
        </p:spPr>
      </p:pic>
      <p:sp>
        <p:nvSpPr>
          <p:cNvPr id="5" name="Ορθογώνιο 4"/>
          <p:cNvSpPr/>
          <p:nvPr/>
        </p:nvSpPr>
        <p:spPr>
          <a:xfrm>
            <a:off x="768264" y="488239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dirty="0"/>
              <a:t>Το σεμινάριο υλοποιείται στα πλαίσια της Πράξης «Γραφείο υποστήριξης της διδασκαλίας και μάθησης στο Ελληνικό Μεσογειακό Πανεπιστήμιο» με κωδικό ΟΠΣ (MIS) 5162371 με τη Συγχρηματοδότησης της Ευρωπαϊκής Ένωσης</a:t>
            </a:r>
          </a:p>
        </p:txBody>
      </p:sp>
      <p:pic>
        <p:nvPicPr>
          <p:cNvPr id="6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Εικόνα 2">
            <a:extLst>
              <a:ext uri="{FF2B5EF4-FFF2-40B4-BE49-F238E27FC236}">
                <a16:creationId xmlns:a16="http://schemas.microsoft.com/office/drawing/2014/main" id="{D3C84453-2126-51E5-7D12-0767931D7B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760" y="1089212"/>
            <a:ext cx="4509287" cy="296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886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γγραφή στο </a:t>
            </a:r>
            <a:r>
              <a:rPr lang="en-US" dirty="0" err="1"/>
              <a:t>Mentimeter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Εικόνα 7">
            <a:extLst>
              <a:ext uri="{FF2B5EF4-FFF2-40B4-BE49-F238E27FC236}">
                <a16:creationId xmlns:a16="http://schemas.microsoft.com/office/drawing/2014/main" id="{372BF514-D9AE-79BF-575C-3F77E51347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436" y="1582620"/>
            <a:ext cx="8546260" cy="450621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66DB5A9-C20B-DD69-3D0A-F0236472FED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E33CAF32-0069-0A37-63D5-520443847133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634520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Προφίλ Λογαριασμού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id="{7A692982-5A8E-5AE9-EF3C-0F005D8E68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433" y="1591585"/>
            <a:ext cx="8546259" cy="450621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0469DC0-7BDF-DEA7-DA8D-1EC9FDF639C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8" name="Ορθογώνιο 7">
            <a:extLst>
              <a:ext uri="{FF2B5EF4-FFF2-40B4-BE49-F238E27FC236}">
                <a16:creationId xmlns:a16="http://schemas.microsoft.com/office/drawing/2014/main" id="{47068277-7EB7-BA1D-FD63-1C0683577BA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1104347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691433" y="363517"/>
            <a:ext cx="8346851" cy="793376"/>
          </a:xfrm>
        </p:spPr>
        <p:txBody>
          <a:bodyPr/>
          <a:lstStyle/>
          <a:p>
            <a:r>
              <a:rPr lang="el-GR" dirty="0"/>
              <a:t>Δημιουργία νέας παρουσίασ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Εικόνα 5">
            <a:extLst>
              <a:ext uri="{FF2B5EF4-FFF2-40B4-BE49-F238E27FC236}">
                <a16:creationId xmlns:a16="http://schemas.microsoft.com/office/drawing/2014/main" id="{7A692982-5A8E-5AE9-EF3C-0F005D8E6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433" y="1591585"/>
            <a:ext cx="8546259" cy="4506210"/>
          </a:xfrm>
          <a:prstGeom prst="rect">
            <a:avLst/>
          </a:prstGeom>
        </p:spPr>
      </p:pic>
      <p:sp>
        <p:nvSpPr>
          <p:cNvPr id="7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346528B-AAFE-B03D-9EAE-448FE053BA4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0800000">
            <a:off x="2226017" y="3502959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EEBA44-C045-96FB-E9A9-92F58FEC625C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D12E470A-0B0B-6103-075F-3EFF70145085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055450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286522"/>
            <a:ext cx="7164199" cy="793376"/>
          </a:xfrm>
        </p:spPr>
        <p:txBody>
          <a:bodyPr/>
          <a:lstStyle/>
          <a:p>
            <a:r>
              <a:rPr lang="el-GR" dirty="0"/>
              <a:t>Είδη </a:t>
            </a:r>
            <a:r>
              <a:rPr lang="en-US" dirty="0"/>
              <a:t>template </a:t>
            </a:r>
            <a:r>
              <a:rPr lang="el-GR" dirty="0"/>
              <a:t>προς χρήση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8C129D04-2714-C758-1696-E3F1A10F7B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020" y="1591932"/>
            <a:ext cx="8559083" cy="450621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ACB5048-98F5-655F-D506-F14CC0E90606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3" name="Ορθογώνιο 12">
            <a:extLst>
              <a:ext uri="{FF2B5EF4-FFF2-40B4-BE49-F238E27FC236}">
                <a16:creationId xmlns:a16="http://schemas.microsoft.com/office/drawing/2014/main" id="{DBE40D5F-B6E7-F2C5-4AC9-B30E01D5541F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2281126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717787" y="280101"/>
            <a:ext cx="8756426" cy="793376"/>
          </a:xfrm>
        </p:spPr>
        <p:txBody>
          <a:bodyPr/>
          <a:lstStyle/>
          <a:p>
            <a:r>
              <a:rPr lang="el-GR" dirty="0"/>
              <a:t>Επιλογή</a:t>
            </a:r>
            <a:r>
              <a:rPr lang="en-US" dirty="0"/>
              <a:t> </a:t>
            </a:r>
            <a:r>
              <a:rPr lang="el-GR" dirty="0"/>
              <a:t>είδους νέας διαφάνεια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57C79961-74BA-B400-3486-B8EF249E9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8327" y="1627396"/>
            <a:ext cx="8605348" cy="45062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BCB31CE-7B14-8A09-9E59-BE2B0032E1B1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A0AA0502-1BFB-0F84-FD2B-8316C7F64397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490846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2616424" y="323517"/>
            <a:ext cx="7164199" cy="793376"/>
          </a:xfrm>
        </p:spPr>
        <p:txBody>
          <a:bodyPr/>
          <a:lstStyle/>
          <a:p>
            <a:r>
              <a:rPr lang="el-GR" dirty="0"/>
              <a:t>Χρήση </a:t>
            </a:r>
            <a:r>
              <a:rPr lang="en-US" dirty="0"/>
              <a:t>Word Cloud</a:t>
            </a:r>
            <a:endParaRPr lang="el-GR" dirty="0"/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Εικόνα 6">
            <a:extLst>
              <a:ext uri="{FF2B5EF4-FFF2-40B4-BE49-F238E27FC236}">
                <a16:creationId xmlns:a16="http://schemas.microsoft.com/office/drawing/2014/main" id="{1A3D16B8-92F3-DA5F-3247-6407780A82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6725" y="1585121"/>
            <a:ext cx="6015660" cy="439472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E9F63D2-939C-1A2E-0321-EFAD495214D8}"/>
              </a:ext>
            </a:extLst>
          </p:cNvPr>
          <p:cNvSpPr txBox="1"/>
          <p:nvPr/>
        </p:nvSpPr>
        <p:spPr>
          <a:xfrm>
            <a:off x="647700" y="2074321"/>
            <a:ext cx="2924175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l-GR" dirty="0"/>
              <a:t>Σύννεφο λέξεων είναι μια συλλογή, ή συστάδα, λέξεων που απεικονίζονται σε διαφορετικά μεγέθη:</a:t>
            </a:r>
          </a:p>
          <a:p>
            <a:pPr algn="just"/>
            <a:endParaRPr lang="el-GR" dirty="0"/>
          </a:p>
          <a:p>
            <a:pPr algn="just"/>
            <a:endParaRPr lang="el-GR" dirty="0"/>
          </a:p>
          <a:p>
            <a:pPr algn="just"/>
            <a:r>
              <a:rPr lang="el-GR" dirty="0"/>
              <a:t>Κάντε οποιαδήποτε ερώτηση ανοικτού τύπου. Οι συμμετέχοντες απαντούν με ελεύθερο κείμενο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890D22-139F-1361-D7BB-1196C8E29958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4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1" name="Ορθογώνιο 10">
            <a:extLst>
              <a:ext uri="{FF2B5EF4-FFF2-40B4-BE49-F238E27FC236}">
                <a16:creationId xmlns:a16="http://schemas.microsoft.com/office/drawing/2014/main" id="{42B414A7-4DA5-F7C6-D756-921E02822140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7908355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1560829" y="163710"/>
            <a:ext cx="8632041" cy="793376"/>
          </a:xfrm>
        </p:spPr>
        <p:txBody>
          <a:bodyPr/>
          <a:lstStyle/>
          <a:p>
            <a:pPr algn="ctr"/>
            <a:r>
              <a:rPr lang="el-GR" dirty="0"/>
              <a:t>Δοκιμή διαφάνειας/παρουσίασης</a:t>
            </a:r>
          </a:p>
        </p:txBody>
      </p:sp>
      <p:pic>
        <p:nvPicPr>
          <p:cNvPr id="4" name="Picture 2" descr="https://qa.hmu.gr/wp-content/uploads/2023/06/ELMEPA-LOGO-GR-Compress-120x120-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613" y="116192"/>
            <a:ext cx="1637450" cy="16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Εικόνα 10">
            <a:extLst>
              <a:ext uri="{FF2B5EF4-FFF2-40B4-BE49-F238E27FC236}">
                <a16:creationId xmlns:a16="http://schemas.microsoft.com/office/drawing/2014/main" id="{F1850F0F-7D3E-A87F-3B27-2F6F0D104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4805" y="1694010"/>
            <a:ext cx="8243047" cy="4517348"/>
          </a:xfrm>
          <a:prstGeom prst="rect">
            <a:avLst/>
          </a:prstGeom>
        </p:spPr>
      </p:pic>
      <p:sp>
        <p:nvSpPr>
          <p:cNvPr id="12" name="Arrow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24CA49C-5008-0279-4607-C07034CFEB8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 rot="16200000">
            <a:off x="9816628" y="1386527"/>
            <a:ext cx="327970" cy="274496"/>
          </a:xfrm>
          <a:custGeom>
            <a:avLst/>
            <a:gdLst>
              <a:gd name="T0" fmla="*/ 522 w 1250"/>
              <a:gd name="T1" fmla="*/ 1044 h 1045"/>
              <a:gd name="T2" fmla="*/ 0 w 1250"/>
              <a:gd name="T3" fmla="*/ 522 h 1045"/>
              <a:gd name="T4" fmla="*/ 522 w 1250"/>
              <a:gd name="T5" fmla="*/ 0 h 1045"/>
              <a:gd name="T6" fmla="*/ 867 w 1250"/>
              <a:gd name="T7" fmla="*/ 0 h 1045"/>
              <a:gd name="T8" fmla="*/ 470 w 1250"/>
              <a:gd name="T9" fmla="*/ 397 h 1045"/>
              <a:gd name="T10" fmla="*/ 1250 w 1250"/>
              <a:gd name="T11" fmla="*/ 397 h 1045"/>
              <a:gd name="T12" fmla="*/ 1250 w 1250"/>
              <a:gd name="T13" fmla="*/ 650 h 1045"/>
              <a:gd name="T14" fmla="*/ 472 w 1250"/>
              <a:gd name="T15" fmla="*/ 650 h 1045"/>
              <a:gd name="T16" fmla="*/ 867 w 1250"/>
              <a:gd name="T17" fmla="*/ 1045 h 1045"/>
              <a:gd name="T18" fmla="*/ 522 w 1250"/>
              <a:gd name="T19" fmla="*/ 1044 h 10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50" h="1045">
                <a:moveTo>
                  <a:pt x="522" y="1044"/>
                </a:moveTo>
                <a:lnTo>
                  <a:pt x="0" y="522"/>
                </a:lnTo>
                <a:lnTo>
                  <a:pt x="522" y="0"/>
                </a:lnTo>
                <a:lnTo>
                  <a:pt x="867" y="0"/>
                </a:lnTo>
                <a:lnTo>
                  <a:pt x="470" y="397"/>
                </a:lnTo>
                <a:lnTo>
                  <a:pt x="1250" y="397"/>
                </a:lnTo>
                <a:lnTo>
                  <a:pt x="1250" y="650"/>
                </a:lnTo>
                <a:lnTo>
                  <a:pt x="472" y="650"/>
                </a:lnTo>
                <a:lnTo>
                  <a:pt x="867" y="1045"/>
                </a:lnTo>
                <a:lnTo>
                  <a:pt x="522" y="1044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A9ED6-1123-E2AD-DD41-F9A23CC4048B}"/>
              </a:ext>
            </a:extLst>
          </p:cNvPr>
          <p:cNvSpPr txBox="1"/>
          <p:nvPr/>
        </p:nvSpPr>
        <p:spPr>
          <a:xfrm>
            <a:off x="62290" y="6225542"/>
            <a:ext cx="80731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Reproduced from </a:t>
            </a:r>
            <a:r>
              <a:rPr lang="en-US" sz="1400" b="0" i="0" dirty="0" err="1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Mentimeter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website, 2023, Retrieved from 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  <a:hlinkClick r:id="rId5"/>
              </a:rPr>
              <a:t>https://www.mentimeter.com/</a:t>
            </a:r>
            <a:r>
              <a:rPr lang="en-US" sz="1400" b="0" i="0" dirty="0">
                <a:solidFill>
                  <a:srgbClr val="FFFFFF"/>
                </a:solidFill>
                <a:effectLst/>
                <a:latin typeface="Montserrat" panose="020B0604020202020204" pitchFamily="2" charset="0"/>
              </a:rPr>
              <a:t> Copyright  2023 by </a:t>
            </a:r>
            <a:r>
              <a:rPr lang="en-US" sz="1400" i="0" dirty="0" err="1">
                <a:effectLst/>
                <a:latin typeface="Montserrat" panose="00000500000000000000" pitchFamily="2" charset="0"/>
              </a:rPr>
              <a:t>Mentimeter</a:t>
            </a:r>
            <a:r>
              <a:rPr lang="en-US" sz="1400" i="0" dirty="0">
                <a:effectLst/>
                <a:latin typeface="Montserrat" panose="00000500000000000000" pitchFamily="2" charset="0"/>
              </a:rPr>
              <a:t> Inc</a:t>
            </a:r>
            <a:r>
              <a:rPr lang="en-US" i="0" dirty="0">
                <a:effectLst/>
                <a:latin typeface="Montserrat" panose="00000500000000000000" pitchFamily="2" charset="0"/>
              </a:rPr>
              <a:t>.</a:t>
            </a:r>
            <a:endParaRPr lang="el-GR" dirty="0"/>
          </a:p>
        </p:txBody>
      </p:sp>
      <p:sp>
        <p:nvSpPr>
          <p:cNvPr id="14" name="Ορθογώνιο 13">
            <a:extLst>
              <a:ext uri="{FF2B5EF4-FFF2-40B4-BE49-F238E27FC236}">
                <a16:creationId xmlns:a16="http://schemas.microsoft.com/office/drawing/2014/main" id="{DDB090C9-BF0D-7F8C-FB77-AB237031892A}"/>
              </a:ext>
            </a:extLst>
          </p:cNvPr>
          <p:cNvSpPr/>
          <p:nvPr/>
        </p:nvSpPr>
        <p:spPr>
          <a:xfrm>
            <a:off x="6770024" y="6564096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l-GR" sz="1000" b="1" dirty="0"/>
              <a:t>Ελληνικό Μεσογειακό Πανεπιστήμιο/ Κέντρο Υποστήριξης Διδασκαλίας και Μάθησης</a:t>
            </a:r>
          </a:p>
        </p:txBody>
      </p:sp>
    </p:spTree>
    <p:extLst>
      <p:ext uri="{BB962C8B-B14F-4D97-AF65-F5344CB8AC3E}">
        <p14:creationId xmlns:p14="http://schemas.microsoft.com/office/powerpoint/2010/main" val="4210546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Ιόν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Κεδιμα" id="{C0C173B8-8EA5-4AB0-9F78-A9E09A3D40A5}" vid="{88EB095C-1C72-4C38-A9CC-6B0D7934CE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</TotalTime>
  <Words>969</Words>
  <Application>Microsoft Office PowerPoint</Application>
  <PresentationFormat>Ευρεία οθόνη</PresentationFormat>
  <Paragraphs>81</Paragraphs>
  <Slides>26</Slides>
  <Notes>0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26</vt:i4>
      </vt:variant>
    </vt:vector>
  </HeadingPairs>
  <TitlesOfParts>
    <vt:vector size="32" baseType="lpstr">
      <vt:lpstr>Arial</vt:lpstr>
      <vt:lpstr>Calibri</vt:lpstr>
      <vt:lpstr>Century Gothic</vt:lpstr>
      <vt:lpstr>Montserrat</vt:lpstr>
      <vt:lpstr>Wingdings 3</vt:lpstr>
      <vt:lpstr>Ιόν</vt:lpstr>
      <vt:lpstr>Τίτλος σεμιναρίου όνομα διδασκόντων / ιδιότητα προαιρετικά </vt:lpstr>
      <vt:lpstr>Κεντρική σελίδα Mentimeter</vt:lpstr>
      <vt:lpstr>Εγγραφή στο Mentimeter</vt:lpstr>
      <vt:lpstr>Προφίλ Λογαριασμού</vt:lpstr>
      <vt:lpstr>Δημιουργία νέας παρουσίασης</vt:lpstr>
      <vt:lpstr>Είδη template προς χρήση</vt:lpstr>
      <vt:lpstr>Επιλογή είδους νέας διαφάνειας</vt:lpstr>
      <vt:lpstr>Χρήση Word Cloud</vt:lpstr>
      <vt:lpstr>Δοκιμή διαφάνειας/παρουσίασης</vt:lpstr>
      <vt:lpstr>Παράθυρο παρουσιαστή σε δοκιμή</vt:lpstr>
      <vt:lpstr>Παράθυρο συμμετέχοντα σε δοκιμή</vt:lpstr>
      <vt:lpstr>Αποτέλεσμα μίας καταγραφής</vt:lpstr>
      <vt:lpstr>Αποτέλεσμα περισσότερων απαντήσεων</vt:lpstr>
      <vt:lpstr>Χρήση ερωτήσεων πολλαπλών επιλογών</vt:lpstr>
      <vt:lpstr>Προσθήκη φωτογραφιών ή Gifs στη θέση των απαντήσεων</vt:lpstr>
      <vt:lpstr>Ερωτήσεις πολλαπλών επιλογών με χρήση Gifs</vt:lpstr>
      <vt:lpstr>Χρήση διαφανειών</vt:lpstr>
      <vt:lpstr>Προσθήκη εικόνας στις διαφάνειες</vt:lpstr>
      <vt:lpstr>Δυνατότητα  γρήγορης αλλαγής τύπου διαφάνειας</vt:lpstr>
      <vt:lpstr>Δυνατότητα αλλαγής τρόπου παρουσίασης διαφάνειας</vt:lpstr>
      <vt:lpstr>Δυνατότητα προσθήκης διαδραστικότητας στη διαφάνεια</vt:lpstr>
      <vt:lpstr>Δυνατότητα προσθήκης βίντεο</vt:lpstr>
      <vt:lpstr>Χρήση ερώτησης κατάταξης</vt:lpstr>
      <vt:lpstr>Επιπλέον είδη διαφανειών περιεχομένου</vt:lpstr>
      <vt:lpstr>Σας ευχαριστώ πολύ.</vt:lpstr>
      <vt:lpstr>Παρουσίαση του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Τιτλός σεμιναρίου όνομα διδάσκοντων / ιδιότητα προαιρετικά</dc:title>
  <dc:creator>Athanasios Malamos</dc:creator>
  <cp:lastModifiedBy>Alkis zourmpakis</cp:lastModifiedBy>
  <cp:revision>8</cp:revision>
  <dcterms:created xsi:type="dcterms:W3CDTF">2023-09-21T10:16:00Z</dcterms:created>
  <dcterms:modified xsi:type="dcterms:W3CDTF">2023-09-27T21:46:44Z</dcterms:modified>
</cp:coreProperties>
</file>